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1"/>
  </p:sldMasterIdLst>
  <p:notesMasterIdLst>
    <p:notesMasterId r:id="rId18"/>
  </p:notesMasterIdLst>
  <p:handoutMasterIdLst>
    <p:handoutMasterId r:id="rId19"/>
  </p:handoutMasterIdLst>
  <p:sldIdLst>
    <p:sldId id="325" r:id="rId2"/>
    <p:sldId id="626" r:id="rId3"/>
    <p:sldId id="628" r:id="rId4"/>
    <p:sldId id="608" r:id="rId5"/>
    <p:sldId id="631" r:id="rId6"/>
    <p:sldId id="615" r:id="rId7"/>
    <p:sldId id="632" r:id="rId8"/>
    <p:sldId id="636" r:id="rId9"/>
    <p:sldId id="637" r:id="rId10"/>
    <p:sldId id="638" r:id="rId11"/>
    <p:sldId id="629" r:id="rId12"/>
    <p:sldId id="642" r:id="rId13"/>
    <p:sldId id="643" r:id="rId14"/>
    <p:sldId id="645" r:id="rId15"/>
    <p:sldId id="647" r:id="rId16"/>
    <p:sldId id="648" r:id="rId17"/>
  </p:sldIdLst>
  <p:sldSz cx="12192000" cy="6858000"/>
  <p:notesSz cx="6805613" cy="9944100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96" autoAdjust="0"/>
  </p:normalViewPr>
  <p:slideViewPr>
    <p:cSldViewPr snapToGrid="0">
      <p:cViewPr varScale="1">
        <p:scale>
          <a:sx n="73" d="100"/>
          <a:sy n="73" d="100"/>
        </p:scale>
        <p:origin x="618" y="78"/>
      </p:cViewPr>
      <p:guideLst>
        <p:guide orient="horz" pos="890"/>
        <p:guide pos="347"/>
        <p:guide pos="7650"/>
        <p:guide orient="horz" pos="120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22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22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  <a:t>22.05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2.05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A05E6458-3F23-4BB8-8927-4CF002F6693B}" type="datetime1">
              <a:rPr lang="ru-RU" smtClean="0"/>
              <a:t>22.05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795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4455C514-E899-479F-879B-9AF287D8C535}" type="datetime1">
              <a:rPr lang="ru-RU" smtClean="0"/>
              <a:t>22.05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4426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002E3F6-8D60-4247-BBA3-9C7DC97B6E68}" type="datetime1">
              <a:rPr lang="ru-RU" smtClean="0"/>
              <a:t>22.05.20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1548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12192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12192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65060" y="5052546"/>
            <a:ext cx="7516013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0108" y="3132290"/>
            <a:ext cx="9567135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40000" y="731519"/>
            <a:ext cx="8534400" cy="347472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38344" y="376517"/>
            <a:ext cx="27432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32151" y="731519"/>
            <a:ext cx="6439049" cy="489472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238855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35216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524000" y="731520"/>
            <a:ext cx="8534400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12192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0927" y="2172648"/>
            <a:ext cx="7955555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6584" y="4607511"/>
            <a:ext cx="7960659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523999" y="731519"/>
            <a:ext cx="4462272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193536" y="731520"/>
            <a:ext cx="4462272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4000" y="731520"/>
            <a:ext cx="4462272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41929" y="1400327"/>
            <a:ext cx="4462272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6403" y="731520"/>
            <a:ext cx="4462272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1399032"/>
            <a:ext cx="4462272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8794" y="2209801"/>
            <a:ext cx="4848113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24688" y="731520"/>
            <a:ext cx="5356113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34353" y="3497802"/>
            <a:ext cx="4518213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12192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12192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966900" y="1143000"/>
            <a:ext cx="54864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0516" y="1010486"/>
            <a:ext cx="4925485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9691" y="4464421"/>
            <a:ext cx="8511384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12192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12192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12192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12192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91053" y="4372168"/>
            <a:ext cx="8683348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4000" y="732260"/>
            <a:ext cx="85344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00" y="6172201"/>
            <a:ext cx="3352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172201"/>
            <a:ext cx="44704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80000" y="617220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8" name="Слайд think-cell" r:id="rId18" imgW="359" imgH="360" progId="TCLayout.ActiveDocument.1">
                  <p:embed/>
                </p:oleObj>
              </mc:Choice>
              <mc:Fallback>
                <p:oleObj name="Слайд think-cell" r:id="rId18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sv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hyperlink" Target="http://mirslovarei.com/content_soc/morfologija-cheloveka-104.html" TargetMode="External"/><Relationship Id="rId5" Type="http://schemas.openxmlformats.org/officeDocument/2006/relationships/oleObject" Target="../embeddings/oleObject3.bin"/><Relationship Id="rId10" Type="http://schemas.openxmlformats.org/officeDocument/2006/relationships/hyperlink" Target="http://mirslovarei.com/soc_a" TargetMode="External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mirslovarei.com/content_soc/zadacha-objective-4740.htm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9"/>
          <a:stretch/>
        </p:blipFill>
        <p:spPr>
          <a:xfrm>
            <a:off x="-7293" y="14514"/>
            <a:ext cx="12199293" cy="684348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-7293" y="14514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13720" y="1567301"/>
            <a:ext cx="8749705" cy="2077492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5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</a:t>
            </a:r>
            <a:r>
              <a:rPr lang="ru-RU" sz="45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школьников</a:t>
            </a:r>
            <a:endParaRPr lang="en-US" sz="45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5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</a:t>
            </a:r>
            <a:r>
              <a:rPr lang="ru-RU" sz="45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ктуальный результат </a:t>
            </a:r>
            <a:r>
              <a:rPr lang="ru-RU" sz="45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образования</a:t>
            </a:r>
            <a:endParaRPr lang="ru-RU" sz="45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224117" y="731520"/>
            <a:ext cx="11241741" cy="5570668"/>
          </a:xfrm>
        </p:spPr>
        <p:txBody>
          <a:bodyPr>
            <a:normAutofit fontScale="92500" lnSpcReduction="20000"/>
          </a:bodyPr>
          <a:lstStyle/>
          <a:p>
            <a:endParaRPr lang="ru-RU" dirty="0"/>
          </a:p>
          <a:p>
            <a:r>
              <a:rPr lang="ru-RU" sz="4200" b="1" dirty="0"/>
              <a:t>Этап рефлексии.</a:t>
            </a:r>
            <a:r>
              <a:rPr lang="ru-RU" sz="4200" dirty="0"/>
              <a:t> </a:t>
            </a:r>
            <a:r>
              <a:rPr lang="ru-RU" sz="4200" b="1" dirty="0"/>
              <a:t>Приём «Незаконченные предложения»</a:t>
            </a:r>
            <a:endParaRPr lang="ru-RU" sz="4200" dirty="0"/>
          </a:p>
          <a:p>
            <a:pPr marL="45720" indent="0">
              <a:buNone/>
            </a:pPr>
            <a:r>
              <a:rPr lang="ru-RU" sz="4200" dirty="0"/>
              <a:t>1. На уроке литературы я испытываю такие чувства, как…..</a:t>
            </a:r>
          </a:p>
          <a:p>
            <a:pPr marL="45720" indent="0">
              <a:buNone/>
            </a:pPr>
            <a:r>
              <a:rPr lang="ru-RU" sz="4200" dirty="0"/>
              <a:t>2. Я думаю, что уроки литературы проходят……</a:t>
            </a:r>
          </a:p>
          <a:p>
            <a:pPr marL="45720" indent="0">
              <a:buNone/>
            </a:pPr>
            <a:r>
              <a:rPr lang="ru-RU" sz="4200" dirty="0"/>
              <a:t>3. Больше всего на уроках литературы я люблю….</a:t>
            </a:r>
          </a:p>
          <a:p>
            <a:pPr marL="45720" indent="0">
              <a:buNone/>
            </a:pPr>
            <a:r>
              <a:rPr lang="ru-RU" sz="4200" dirty="0"/>
              <a:t>4. Мне не очень нравится……</a:t>
            </a:r>
          </a:p>
          <a:p>
            <a:pPr marL="45720" indent="0">
              <a:buNone/>
            </a:pPr>
            <a:r>
              <a:rPr lang="ru-RU" sz="4200" dirty="0"/>
              <a:t>5. Если бы я был учителем литературы, я бы …</a:t>
            </a:r>
          </a:p>
        </p:txBody>
      </p:sp>
    </p:spTree>
    <p:extLst>
      <p:ext uri="{BB962C8B-B14F-4D97-AF65-F5344CB8AC3E}">
        <p14:creationId xmlns:p14="http://schemas.microsoft.com/office/powerpoint/2010/main" val="2125969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431" y="1661156"/>
            <a:ext cx="1072989" cy="749873"/>
          </a:xfrm>
          <a:prstGeom prst="rect">
            <a:avLst/>
          </a:prstGeom>
        </p:spPr>
      </p:pic>
      <p:grpSp>
        <p:nvGrpSpPr>
          <p:cNvPr id="257" name="Group 209"/>
          <p:cNvGrpSpPr>
            <a:grpSpLocks noChangeAspect="1"/>
          </p:cNvGrpSpPr>
          <p:nvPr/>
        </p:nvGrpSpPr>
        <p:grpSpPr bwMode="auto">
          <a:xfrm>
            <a:off x="425104" y="3624747"/>
            <a:ext cx="1111383" cy="707244"/>
            <a:chOff x="97" y="2164"/>
            <a:chExt cx="792" cy="504"/>
          </a:xfrm>
        </p:grpSpPr>
        <p:sp>
          <p:nvSpPr>
            <p:cNvPr id="258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9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0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1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2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3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4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5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6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7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8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9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0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6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7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8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9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8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3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442" name="Рисунок 441" descr="004.em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4431" y="4986811"/>
            <a:ext cx="1163990" cy="695982"/>
          </a:xfrm>
          <a:prstGeom prst="rect">
            <a:avLst/>
          </a:prstGeom>
        </p:spPr>
      </p:pic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626659" y="396375"/>
            <a:ext cx="8095129" cy="60656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800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ипы домашнего задания: </a:t>
            </a:r>
            <a:endParaRPr lang="ru-RU" sz="28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творческая работа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лингвистическое исследование текста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подготовка иллюстраций к литературным произведениям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рисование обложек к литературным произведениям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художественное чтение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инсценировка художественного произведения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создание самостоятельных литературных произведений различных жанров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продолжение неоконченных произведений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наблюдение за природой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составление вопросника к зачету по теме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составление конспекта, опорных таблиц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•	письмо по памяти. </a:t>
            </a:r>
            <a:endParaRPr lang="ru-RU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72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735348" y="915714"/>
            <a:ext cx="636990" cy="145459"/>
            <a:chOff x="0" y="0"/>
            <a:chExt cx="1273980" cy="290918"/>
          </a:xfrm>
        </p:grpSpPr>
        <p:grpSp>
          <p:nvGrpSpPr>
            <p:cNvPr id="3" name="Group 3"/>
            <p:cNvGrpSpPr>
              <a:grpSpLocks noChangeAspect="1"/>
            </p:cNvGrpSpPr>
            <p:nvPr/>
          </p:nvGrpSpPr>
          <p:grpSpPr>
            <a:xfrm>
              <a:off x="983062" y="0"/>
              <a:ext cx="290918" cy="290918"/>
              <a:chOff x="0" y="0"/>
              <a:chExt cx="1708150" cy="1708150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5" name="Group 5"/>
            <p:cNvGrpSpPr>
              <a:grpSpLocks noChangeAspect="1"/>
            </p:cNvGrpSpPr>
            <p:nvPr/>
          </p:nvGrpSpPr>
          <p:grpSpPr>
            <a:xfrm>
              <a:off x="489944" y="0"/>
              <a:ext cx="290918" cy="290918"/>
              <a:chOff x="0" y="0"/>
              <a:chExt cx="1708150" cy="170815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7" name="Group 7"/>
            <p:cNvGrpSpPr/>
            <p:nvPr/>
          </p:nvGrpSpPr>
          <p:grpSpPr>
            <a:xfrm>
              <a:off x="0" y="1587"/>
              <a:ext cx="287744" cy="287744"/>
              <a:chOff x="0" y="0"/>
              <a:chExt cx="6350000" cy="6350000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F88046"/>
              </a:solidFill>
            </p:spPr>
          </p:sp>
        </p:grpSp>
      </p:grpSp>
      <p:grpSp>
        <p:nvGrpSpPr>
          <p:cNvPr id="9" name="Group 9"/>
          <p:cNvGrpSpPr/>
          <p:nvPr/>
        </p:nvGrpSpPr>
        <p:grpSpPr>
          <a:xfrm>
            <a:off x="504024" y="1979285"/>
            <a:ext cx="5215331" cy="1981359"/>
            <a:chOff x="0" y="123825"/>
            <a:chExt cx="10430662" cy="3962718"/>
          </a:xfrm>
        </p:grpSpPr>
        <p:sp>
          <p:nvSpPr>
            <p:cNvPr id="10" name="AutoShape 10"/>
            <p:cNvSpPr/>
            <p:nvPr/>
          </p:nvSpPr>
          <p:spPr>
            <a:xfrm>
              <a:off x="0" y="4050850"/>
              <a:ext cx="10430662" cy="35693"/>
            </a:xfrm>
            <a:prstGeom prst="rect">
              <a:avLst/>
            </a:prstGeom>
            <a:solidFill>
              <a:srgbClr val="F88046"/>
            </a:solidFill>
          </p:spPr>
        </p:sp>
        <p:sp>
          <p:nvSpPr>
            <p:cNvPr id="11" name="TextBox 11"/>
            <p:cNvSpPr txBox="1"/>
            <p:nvPr/>
          </p:nvSpPr>
          <p:spPr>
            <a:xfrm>
              <a:off x="0" y="123825"/>
              <a:ext cx="10430662" cy="33085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4336"/>
                </a:lnSpc>
              </a:pPr>
              <a:r>
                <a:rPr lang="en-US" sz="4336" dirty="0" err="1">
                  <a:solidFill>
                    <a:srgbClr val="1A1B18"/>
                  </a:solidFill>
                  <a:latin typeface="Clear Sans Regular Bold"/>
                </a:rPr>
                <a:t>Подкастинг</a:t>
              </a:r>
              <a:r>
                <a:rPr lang="en-US" sz="4336" dirty="0">
                  <a:solidFill>
                    <a:srgbClr val="1A1B18"/>
                  </a:solidFill>
                  <a:latin typeface="Clear Sans Regular Bold"/>
                </a:rPr>
                <a:t> </a:t>
              </a:r>
              <a:r>
                <a:rPr lang="en-US" sz="4336" dirty="0" err="1">
                  <a:solidFill>
                    <a:srgbClr val="1A1B18"/>
                  </a:solidFill>
                  <a:latin typeface="Clear Sans Regular Bold"/>
                </a:rPr>
                <a:t>как</a:t>
              </a:r>
              <a:r>
                <a:rPr lang="en-US" sz="4336" dirty="0">
                  <a:solidFill>
                    <a:srgbClr val="1A1B18"/>
                  </a:solidFill>
                  <a:latin typeface="Clear Sans Regular Bold"/>
                </a:rPr>
                <a:t> образовательная </a:t>
              </a:r>
              <a:r>
                <a:rPr lang="en-US" sz="4336" dirty="0" err="1">
                  <a:solidFill>
                    <a:srgbClr val="1A1B18"/>
                  </a:solidFill>
                  <a:latin typeface="Clear Sans Regular Bold"/>
                </a:rPr>
                <a:t>технология</a:t>
              </a:r>
              <a:r>
                <a:rPr lang="en-US" sz="4336" dirty="0">
                  <a:solidFill>
                    <a:srgbClr val="1A1B18"/>
                  </a:solidFill>
                  <a:latin typeface="Clear Sans Regular Bold"/>
                </a:rPr>
                <a:t> </a:t>
              </a:r>
            </a:p>
          </p:txBody>
        </p:sp>
      </p:grpSp>
      <p:grpSp>
        <p:nvGrpSpPr>
          <p:cNvPr id="12" name="Group 12"/>
          <p:cNvGrpSpPr/>
          <p:nvPr/>
        </p:nvGrpSpPr>
        <p:grpSpPr>
          <a:xfrm>
            <a:off x="685800" y="685800"/>
            <a:ext cx="605287" cy="605287"/>
            <a:chOff x="0" y="0"/>
            <a:chExt cx="6350000" cy="6350000"/>
          </a:xfrm>
        </p:grpSpPr>
        <p:sp>
          <p:nvSpPr>
            <p:cNvPr id="13" name="Freeform 13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88046"/>
            </a:solidFill>
          </p:spPr>
        </p:sp>
      </p:grpSp>
      <p:pic>
        <p:nvPicPr>
          <p:cNvPr id="14" name="Picture 1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5268416" y="685800"/>
            <a:ext cx="6237784" cy="4156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0775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-5400000">
            <a:off x="10948562" y="5768889"/>
            <a:ext cx="636990" cy="145459"/>
            <a:chOff x="0" y="0"/>
            <a:chExt cx="1273980" cy="290918"/>
          </a:xfrm>
        </p:grpSpPr>
        <p:grpSp>
          <p:nvGrpSpPr>
            <p:cNvPr id="3" name="Group 3"/>
            <p:cNvGrpSpPr>
              <a:grpSpLocks noChangeAspect="1"/>
            </p:cNvGrpSpPr>
            <p:nvPr/>
          </p:nvGrpSpPr>
          <p:grpSpPr>
            <a:xfrm>
              <a:off x="983062" y="0"/>
              <a:ext cx="290918" cy="290918"/>
              <a:chOff x="0" y="0"/>
              <a:chExt cx="1708150" cy="1708150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5" name="Group 5"/>
            <p:cNvGrpSpPr>
              <a:grpSpLocks noChangeAspect="1"/>
            </p:cNvGrpSpPr>
            <p:nvPr/>
          </p:nvGrpSpPr>
          <p:grpSpPr>
            <a:xfrm>
              <a:off x="489944" y="0"/>
              <a:ext cx="290918" cy="290918"/>
              <a:chOff x="0" y="0"/>
              <a:chExt cx="1708150" cy="170815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7" name="Group 7"/>
            <p:cNvGrpSpPr/>
            <p:nvPr/>
          </p:nvGrpSpPr>
          <p:grpSpPr>
            <a:xfrm>
              <a:off x="0" y="1587"/>
              <a:ext cx="287744" cy="287744"/>
              <a:chOff x="0" y="0"/>
              <a:chExt cx="6350000" cy="6350000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F88046"/>
              </a:solidFill>
            </p:spPr>
          </p:sp>
        </p:grpSp>
      </p:grpSp>
      <p:sp>
        <p:nvSpPr>
          <p:cNvPr id="9" name="TextBox 9"/>
          <p:cNvSpPr txBox="1"/>
          <p:nvPr/>
        </p:nvSpPr>
        <p:spPr>
          <a:xfrm>
            <a:off x="685800" y="505839"/>
            <a:ext cx="6084701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624"/>
              </a:lnSpc>
            </a:pPr>
            <a:r>
              <a:rPr lang="en-US" sz="4204">
                <a:solidFill>
                  <a:srgbClr val="1A1B18"/>
                </a:solidFill>
                <a:latin typeface="Montserrat Bold"/>
              </a:rPr>
              <a:t>Словарь подкастера</a:t>
            </a:r>
          </a:p>
        </p:txBody>
      </p:sp>
      <p:sp>
        <p:nvSpPr>
          <p:cNvPr id="10" name="AutoShape 10"/>
          <p:cNvSpPr/>
          <p:nvPr/>
        </p:nvSpPr>
        <p:spPr>
          <a:xfrm rot="-10800000">
            <a:off x="10604132" y="685800"/>
            <a:ext cx="19050" cy="5486400"/>
          </a:xfrm>
          <a:prstGeom prst="rect">
            <a:avLst/>
          </a:prstGeom>
          <a:solidFill>
            <a:srgbClr val="F88046"/>
          </a:solidFill>
        </p:spPr>
      </p:sp>
      <p:grpSp>
        <p:nvGrpSpPr>
          <p:cNvPr id="11" name="Group 11"/>
          <p:cNvGrpSpPr/>
          <p:nvPr/>
        </p:nvGrpSpPr>
        <p:grpSpPr>
          <a:xfrm>
            <a:off x="685800" y="1378972"/>
            <a:ext cx="4189033" cy="1342426"/>
            <a:chOff x="0" y="-28575"/>
            <a:chExt cx="8378066" cy="2684852"/>
          </a:xfrm>
        </p:grpSpPr>
        <p:pic>
          <p:nvPicPr>
            <p:cNvPr id="12" name="Picture 1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34818" y="123108"/>
              <a:ext cx="230038" cy="259674"/>
            </a:xfrm>
            <a:prstGeom prst="rect">
              <a:avLst/>
            </a:prstGeom>
          </p:spPr>
        </p:pic>
        <p:sp>
          <p:nvSpPr>
            <p:cNvPr id="13" name="AutoShape 13"/>
            <p:cNvSpPr/>
            <p:nvPr/>
          </p:nvSpPr>
          <p:spPr>
            <a:xfrm>
              <a:off x="34818" y="718074"/>
              <a:ext cx="8343247" cy="42363"/>
            </a:xfrm>
            <a:prstGeom prst="rect">
              <a:avLst/>
            </a:prstGeom>
            <a:solidFill>
              <a:srgbClr val="F88046"/>
            </a:solidFill>
          </p:spPr>
        </p:sp>
        <p:sp>
          <p:nvSpPr>
            <p:cNvPr id="14" name="TextBox 14"/>
            <p:cNvSpPr txBox="1"/>
            <p:nvPr/>
          </p:nvSpPr>
          <p:spPr>
            <a:xfrm>
              <a:off x="638668" y="-28575"/>
              <a:ext cx="7739398" cy="56425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7"/>
                </a:lnSpc>
              </a:pPr>
              <a:r>
                <a:rPr lang="en-US" sz="1667" spc="-25">
                  <a:solidFill>
                    <a:srgbClr val="1A1B18"/>
                  </a:solidFill>
                  <a:latin typeface="Clear Sans Regular Bold"/>
                </a:rPr>
                <a:t>Подкаст (podcast) —</a:t>
              </a:r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0" y="1040451"/>
              <a:ext cx="8378066" cy="161582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2053"/>
                </a:lnSpc>
              </a:pPr>
              <a:r>
                <a:rPr lang="en-US" sz="1466">
                  <a:solidFill>
                    <a:srgbClr val="1A1B18"/>
                  </a:solidFill>
                  <a:latin typeface="Clear Sans Regular"/>
                </a:rPr>
                <a:t>это аудиозаписи, сделанные любым человеком, часто объединенные в сериалы и доступные для прослушивания в сети Интернет</a:t>
              </a:r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685800" y="2899648"/>
            <a:ext cx="4189033" cy="1073122"/>
            <a:chOff x="0" y="-28575"/>
            <a:chExt cx="8378066" cy="2146244"/>
          </a:xfrm>
        </p:grpSpPr>
        <p:pic>
          <p:nvPicPr>
            <p:cNvPr id="17" name="Picture 1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34818" y="123108"/>
              <a:ext cx="230038" cy="259674"/>
            </a:xfrm>
            <a:prstGeom prst="rect">
              <a:avLst/>
            </a:prstGeom>
          </p:spPr>
        </p:pic>
        <p:sp>
          <p:nvSpPr>
            <p:cNvPr id="18" name="AutoShape 18"/>
            <p:cNvSpPr/>
            <p:nvPr/>
          </p:nvSpPr>
          <p:spPr>
            <a:xfrm>
              <a:off x="34818" y="718074"/>
              <a:ext cx="8343247" cy="42363"/>
            </a:xfrm>
            <a:prstGeom prst="rect">
              <a:avLst/>
            </a:prstGeom>
            <a:solidFill>
              <a:srgbClr val="F88046"/>
            </a:solidFill>
          </p:spPr>
        </p:sp>
        <p:sp>
          <p:nvSpPr>
            <p:cNvPr id="19" name="TextBox 19"/>
            <p:cNvSpPr txBox="1"/>
            <p:nvPr/>
          </p:nvSpPr>
          <p:spPr>
            <a:xfrm>
              <a:off x="638668" y="-28575"/>
              <a:ext cx="7739398" cy="56425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7"/>
                </a:lnSpc>
              </a:pPr>
              <a:r>
                <a:rPr lang="en-US" sz="1667" spc="-25">
                  <a:solidFill>
                    <a:srgbClr val="1A1B18"/>
                  </a:solidFill>
                  <a:latin typeface="Clear Sans Regular Bold"/>
                </a:rPr>
                <a:t>Подкастер —</a:t>
              </a:r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0" y="1040451"/>
              <a:ext cx="8378066" cy="107721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2053"/>
                </a:lnSpc>
              </a:pPr>
              <a:r>
                <a:rPr lang="en-US" sz="1466">
                  <a:solidFill>
                    <a:srgbClr val="1A1B18"/>
                  </a:solidFill>
                  <a:latin typeface="Clear Sans Regular"/>
                </a:rPr>
                <a:t>это субъект, которые занимается созданием и сопровождением «подкастов».</a:t>
              </a:r>
            </a:p>
          </p:txBody>
        </p:sp>
      </p:grpSp>
      <p:grpSp>
        <p:nvGrpSpPr>
          <p:cNvPr id="21" name="Group 21"/>
          <p:cNvGrpSpPr/>
          <p:nvPr/>
        </p:nvGrpSpPr>
        <p:grpSpPr>
          <a:xfrm>
            <a:off x="685800" y="4074297"/>
            <a:ext cx="4189033" cy="2150340"/>
            <a:chOff x="0" y="-28575"/>
            <a:chExt cx="8378066" cy="4300679"/>
          </a:xfrm>
        </p:grpSpPr>
        <p:pic>
          <p:nvPicPr>
            <p:cNvPr id="22" name="Picture 2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34818" y="123108"/>
              <a:ext cx="230038" cy="259674"/>
            </a:xfrm>
            <a:prstGeom prst="rect">
              <a:avLst/>
            </a:prstGeom>
          </p:spPr>
        </p:pic>
        <p:sp>
          <p:nvSpPr>
            <p:cNvPr id="23" name="AutoShape 23"/>
            <p:cNvSpPr/>
            <p:nvPr/>
          </p:nvSpPr>
          <p:spPr>
            <a:xfrm>
              <a:off x="34818" y="718074"/>
              <a:ext cx="8343247" cy="42363"/>
            </a:xfrm>
            <a:prstGeom prst="rect">
              <a:avLst/>
            </a:prstGeom>
            <a:solidFill>
              <a:srgbClr val="F88046"/>
            </a:solidFill>
          </p:spPr>
        </p:sp>
        <p:sp>
          <p:nvSpPr>
            <p:cNvPr id="24" name="TextBox 24"/>
            <p:cNvSpPr txBox="1"/>
            <p:nvPr/>
          </p:nvSpPr>
          <p:spPr>
            <a:xfrm>
              <a:off x="638668" y="-28575"/>
              <a:ext cx="7739398" cy="56425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7"/>
                </a:lnSpc>
              </a:pPr>
              <a:r>
                <a:rPr lang="en-US" sz="1667" spc="-25">
                  <a:solidFill>
                    <a:srgbClr val="1A1B18"/>
                  </a:solidFill>
                  <a:latin typeface="Clear Sans Regular Bold"/>
                </a:rPr>
                <a:t>Подкаст-терминал —</a:t>
              </a:r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0" y="1040451"/>
              <a:ext cx="8378066" cy="323165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2053"/>
                </a:lnSpc>
              </a:pPr>
              <a:r>
                <a:rPr lang="en-US" sz="1466">
                  <a:solidFill>
                    <a:srgbClr val="1A1B18"/>
                  </a:solidFill>
                  <a:latin typeface="Clear Sans Regular"/>
                </a:rPr>
                <a:t>это веб-сайт, размещающий мультимедийные файлы и автоматизирующий ряд процессов, в том числе: публикации подкастов, подписки на них и обновления контента, распространяемого через Интернет, на устройствах пользователей, подписавшихся на подкаст.</a:t>
              </a:r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5526002" y="1378972"/>
            <a:ext cx="4189033" cy="2419644"/>
            <a:chOff x="0" y="-28575"/>
            <a:chExt cx="8378066" cy="4839287"/>
          </a:xfrm>
        </p:grpSpPr>
        <p:pic>
          <p:nvPicPr>
            <p:cNvPr id="27" name="Picture 2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34818" y="123108"/>
              <a:ext cx="230038" cy="259674"/>
            </a:xfrm>
            <a:prstGeom prst="rect">
              <a:avLst/>
            </a:prstGeom>
          </p:spPr>
        </p:pic>
        <p:sp>
          <p:nvSpPr>
            <p:cNvPr id="28" name="AutoShape 28"/>
            <p:cNvSpPr/>
            <p:nvPr/>
          </p:nvSpPr>
          <p:spPr>
            <a:xfrm>
              <a:off x="34818" y="718074"/>
              <a:ext cx="8343247" cy="42363"/>
            </a:xfrm>
            <a:prstGeom prst="rect">
              <a:avLst/>
            </a:prstGeom>
            <a:solidFill>
              <a:srgbClr val="F88046"/>
            </a:solidFill>
          </p:spPr>
        </p:sp>
        <p:sp>
          <p:nvSpPr>
            <p:cNvPr id="29" name="TextBox 29"/>
            <p:cNvSpPr txBox="1"/>
            <p:nvPr/>
          </p:nvSpPr>
          <p:spPr>
            <a:xfrm>
              <a:off x="638668" y="-28575"/>
              <a:ext cx="7739398" cy="56425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7"/>
                </a:lnSpc>
              </a:pPr>
              <a:r>
                <a:rPr lang="en-US" sz="1667" spc="-25">
                  <a:solidFill>
                    <a:srgbClr val="1A1B18"/>
                  </a:solidFill>
                  <a:latin typeface="Clear Sans Regular Bold"/>
                </a:rPr>
                <a:t>Джингл —</a:t>
              </a:r>
            </a:p>
          </p:txBody>
        </p:sp>
        <p:sp>
          <p:nvSpPr>
            <p:cNvPr id="30" name="TextBox 30"/>
            <p:cNvSpPr txBox="1"/>
            <p:nvPr/>
          </p:nvSpPr>
          <p:spPr>
            <a:xfrm>
              <a:off x="0" y="1040451"/>
              <a:ext cx="8378066" cy="377026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2053"/>
                </a:lnSpc>
              </a:pPr>
              <a:r>
                <a:rPr lang="en-US" sz="1466">
                  <a:solidFill>
                    <a:srgbClr val="1A1B18"/>
                  </a:solidFill>
                  <a:latin typeface="Clear Sans Regular"/>
                </a:rPr>
                <a:t>звуковое сопровождение, которое звучит в начале и в конце каждого выпуска. Хорошо, когда джингл уникален и ассоциируется только с вашим подкастом, — для этого он должен быть написан вами или для вас по заказу. Если такой возможности пока нет, на помощь придут подсейфы.</a:t>
              </a:r>
            </a:p>
          </p:txBody>
        </p:sp>
      </p:grpSp>
      <p:grpSp>
        <p:nvGrpSpPr>
          <p:cNvPr id="31" name="Group 31"/>
          <p:cNvGrpSpPr/>
          <p:nvPr/>
        </p:nvGrpSpPr>
        <p:grpSpPr>
          <a:xfrm>
            <a:off x="5526002" y="4086383"/>
            <a:ext cx="4189033" cy="2150340"/>
            <a:chOff x="0" y="-28575"/>
            <a:chExt cx="8378066" cy="4300679"/>
          </a:xfrm>
        </p:grpSpPr>
        <p:pic>
          <p:nvPicPr>
            <p:cNvPr id="32" name="Picture 3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34818" y="123108"/>
              <a:ext cx="230038" cy="259674"/>
            </a:xfrm>
            <a:prstGeom prst="rect">
              <a:avLst/>
            </a:prstGeom>
          </p:spPr>
        </p:pic>
        <p:sp>
          <p:nvSpPr>
            <p:cNvPr id="33" name="AutoShape 33"/>
            <p:cNvSpPr/>
            <p:nvPr/>
          </p:nvSpPr>
          <p:spPr>
            <a:xfrm>
              <a:off x="34818" y="718074"/>
              <a:ext cx="8343247" cy="42363"/>
            </a:xfrm>
            <a:prstGeom prst="rect">
              <a:avLst/>
            </a:prstGeom>
            <a:solidFill>
              <a:srgbClr val="F88046"/>
            </a:solidFill>
          </p:spPr>
        </p:sp>
        <p:sp>
          <p:nvSpPr>
            <p:cNvPr id="34" name="TextBox 34"/>
            <p:cNvSpPr txBox="1"/>
            <p:nvPr/>
          </p:nvSpPr>
          <p:spPr>
            <a:xfrm>
              <a:off x="638668" y="-28575"/>
              <a:ext cx="7739398" cy="56425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167"/>
                </a:lnSpc>
              </a:pPr>
              <a:r>
                <a:rPr lang="en-US" sz="1667" spc="-25">
                  <a:solidFill>
                    <a:srgbClr val="1A1B18"/>
                  </a:solidFill>
                  <a:latin typeface="Clear Sans Regular Bold"/>
                </a:rPr>
                <a:t>Подсейф —</a:t>
              </a:r>
            </a:p>
          </p:txBody>
        </p:sp>
        <p:sp>
          <p:nvSpPr>
            <p:cNvPr id="35" name="TextBox 35"/>
            <p:cNvSpPr txBox="1"/>
            <p:nvPr/>
          </p:nvSpPr>
          <p:spPr>
            <a:xfrm>
              <a:off x="0" y="1040451"/>
              <a:ext cx="8378066" cy="323165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just">
                <a:lnSpc>
                  <a:spcPts val="2053"/>
                </a:lnSpc>
              </a:pPr>
              <a:r>
                <a:rPr lang="en-US" sz="1466">
                  <a:solidFill>
                    <a:srgbClr val="1A1B18"/>
                  </a:solidFill>
                  <a:latin typeface="Clear Sans Regular"/>
                </a:rPr>
                <a:t>музыка со свободной лицензией, которую, в отличие от коммерческой, можно использовать в подкастах без нарушения авторских прав. Подсейфы можно найти на сайтах: Creative Common Music, Freesound, Free Music Archive, Incompetech.</a:t>
              </a:r>
            </a:p>
          </p:txBody>
        </p:sp>
      </p:grpSp>
      <p:pic>
        <p:nvPicPr>
          <p:cNvPr id="36" name="Picture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>
            <a:fillRect/>
          </a:stretch>
        </p:blipFill>
        <p:spPr>
          <a:xfrm rot="-421767">
            <a:off x="6805811" y="384697"/>
            <a:ext cx="409501" cy="602207"/>
          </a:xfrm>
          <a:prstGeom prst="rect">
            <a:avLst/>
          </a:prstGeom>
        </p:spPr>
      </p:pic>
      <p:sp>
        <p:nvSpPr>
          <p:cNvPr id="37" name="AutoShape 37"/>
          <p:cNvSpPr/>
          <p:nvPr/>
        </p:nvSpPr>
        <p:spPr>
          <a:xfrm>
            <a:off x="0" y="6403165"/>
            <a:ext cx="12192000" cy="454835"/>
          </a:xfrm>
          <a:prstGeom prst="rect">
            <a:avLst/>
          </a:prstGeom>
          <a:solidFill>
            <a:srgbClr val="F88046">
              <a:alpha val="19608"/>
            </a:srgbClr>
          </a:solidFill>
        </p:spPr>
      </p:sp>
    </p:spTree>
    <p:extLst>
      <p:ext uri="{BB962C8B-B14F-4D97-AF65-F5344CB8AC3E}">
        <p14:creationId xmlns:p14="http://schemas.microsoft.com/office/powerpoint/2010/main" val="13726998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-10800000">
            <a:off x="685800" y="685800"/>
            <a:ext cx="636990" cy="145459"/>
            <a:chOff x="0" y="0"/>
            <a:chExt cx="1273980" cy="290918"/>
          </a:xfrm>
        </p:grpSpPr>
        <p:grpSp>
          <p:nvGrpSpPr>
            <p:cNvPr id="3" name="Group 3"/>
            <p:cNvGrpSpPr>
              <a:grpSpLocks noChangeAspect="1"/>
            </p:cNvGrpSpPr>
            <p:nvPr/>
          </p:nvGrpSpPr>
          <p:grpSpPr>
            <a:xfrm>
              <a:off x="983062" y="0"/>
              <a:ext cx="290918" cy="290918"/>
              <a:chOff x="0" y="0"/>
              <a:chExt cx="1708150" cy="1708150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5" name="Group 5"/>
            <p:cNvGrpSpPr>
              <a:grpSpLocks noChangeAspect="1"/>
            </p:cNvGrpSpPr>
            <p:nvPr/>
          </p:nvGrpSpPr>
          <p:grpSpPr>
            <a:xfrm>
              <a:off x="489944" y="0"/>
              <a:ext cx="290918" cy="290918"/>
              <a:chOff x="0" y="0"/>
              <a:chExt cx="1708150" cy="170815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7" name="Group 7"/>
            <p:cNvGrpSpPr/>
            <p:nvPr/>
          </p:nvGrpSpPr>
          <p:grpSpPr>
            <a:xfrm>
              <a:off x="0" y="1587"/>
              <a:ext cx="287744" cy="287744"/>
              <a:chOff x="0" y="0"/>
              <a:chExt cx="6350000" cy="6350000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F88046"/>
              </a:solidFill>
            </p:spPr>
          </p:sp>
        </p:grpSp>
      </p:grpSp>
      <p:sp>
        <p:nvSpPr>
          <p:cNvPr id="9" name="AutoShape 9"/>
          <p:cNvSpPr/>
          <p:nvPr/>
        </p:nvSpPr>
        <p:spPr>
          <a:xfrm>
            <a:off x="685800" y="5727488"/>
            <a:ext cx="4792882" cy="21161"/>
          </a:xfrm>
          <a:prstGeom prst="rect">
            <a:avLst/>
          </a:prstGeom>
          <a:solidFill>
            <a:srgbClr val="F88046"/>
          </a:solidFill>
        </p:spPr>
      </p:sp>
      <p:grpSp>
        <p:nvGrpSpPr>
          <p:cNvPr id="10" name="Group 10"/>
          <p:cNvGrpSpPr/>
          <p:nvPr/>
        </p:nvGrpSpPr>
        <p:grpSpPr>
          <a:xfrm>
            <a:off x="5478682" y="1116985"/>
            <a:ext cx="4444587" cy="380963"/>
            <a:chOff x="0" y="0"/>
            <a:chExt cx="8889174" cy="761926"/>
          </a:xfrm>
        </p:grpSpPr>
        <p:pic>
          <p:nvPicPr>
            <p:cNvPr id="11" name="Picture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837282" cy="761926"/>
            </a:xfrm>
            <a:prstGeom prst="rect">
              <a:avLst/>
            </a:prstGeom>
          </p:spPr>
        </p:pic>
        <p:sp>
          <p:nvSpPr>
            <p:cNvPr id="12" name="TextBox 12"/>
            <p:cNvSpPr txBox="1"/>
            <p:nvPr/>
          </p:nvSpPr>
          <p:spPr>
            <a:xfrm>
              <a:off x="1529524" y="40858"/>
              <a:ext cx="7359650" cy="66685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604"/>
                </a:lnSpc>
              </a:pPr>
              <a:r>
                <a:rPr lang="en-US" sz="1860">
                  <a:solidFill>
                    <a:srgbClr val="1A1B18"/>
                  </a:solidFill>
                  <a:latin typeface="Clear Sans Regular"/>
                </a:rPr>
                <a:t>информационная актуальность</a:t>
              </a:r>
            </a:p>
          </p:txBody>
        </p:sp>
      </p:grpSp>
      <p:grpSp>
        <p:nvGrpSpPr>
          <p:cNvPr id="13" name="Group 13"/>
          <p:cNvGrpSpPr/>
          <p:nvPr/>
        </p:nvGrpSpPr>
        <p:grpSpPr>
          <a:xfrm>
            <a:off x="5478682" y="1782340"/>
            <a:ext cx="5420809" cy="666849"/>
            <a:chOff x="0" y="-57151"/>
            <a:chExt cx="10841619" cy="1333698"/>
          </a:xfrm>
        </p:grpSpPr>
        <p:pic>
          <p:nvPicPr>
            <p:cNvPr id="14" name="Picture 1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917884" cy="835275"/>
            </a:xfrm>
            <a:prstGeom prst="rect">
              <a:avLst/>
            </a:prstGeom>
          </p:spPr>
        </p:pic>
        <p:sp>
          <p:nvSpPr>
            <p:cNvPr id="15" name="TextBox 15"/>
            <p:cNvSpPr txBox="1"/>
            <p:nvPr/>
          </p:nvSpPr>
          <p:spPr>
            <a:xfrm>
              <a:off x="1529522" y="-57151"/>
              <a:ext cx="9312097" cy="133369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613"/>
                </a:lnSpc>
              </a:pPr>
              <a:r>
                <a:rPr lang="en-US" sz="1866">
                  <a:solidFill>
                    <a:srgbClr val="1A1B18"/>
                  </a:solidFill>
                  <a:latin typeface="Clear Sans Regular"/>
                </a:rPr>
                <a:t>«соответствие предметному содержанию образовательной программы</a:t>
              </a:r>
            </a:p>
          </p:txBody>
        </p:sp>
      </p:grpSp>
      <p:sp>
        <p:nvSpPr>
          <p:cNvPr id="16" name="TextBox 16"/>
          <p:cNvSpPr txBox="1"/>
          <p:nvPr/>
        </p:nvSpPr>
        <p:spPr>
          <a:xfrm>
            <a:off x="685800" y="2072039"/>
            <a:ext cx="3948920" cy="19620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138"/>
              </a:lnSpc>
            </a:pPr>
            <a:r>
              <a:rPr lang="en-US" sz="4671">
                <a:solidFill>
                  <a:srgbClr val="1A1B18"/>
                </a:solidFill>
                <a:latin typeface="Montserrat Bold"/>
              </a:rPr>
              <a:t>Критерии отбора подкастов</a:t>
            </a:r>
          </a:p>
        </p:txBody>
      </p:sp>
      <p:grpSp>
        <p:nvGrpSpPr>
          <p:cNvPr id="17" name="Group 17"/>
          <p:cNvGrpSpPr/>
          <p:nvPr/>
        </p:nvGrpSpPr>
        <p:grpSpPr>
          <a:xfrm>
            <a:off x="5478682" y="2654186"/>
            <a:ext cx="4444587" cy="380963"/>
            <a:chOff x="0" y="0"/>
            <a:chExt cx="8889174" cy="761926"/>
          </a:xfrm>
        </p:grpSpPr>
        <p:pic>
          <p:nvPicPr>
            <p:cNvPr id="18" name="Picture 1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0" y="0"/>
              <a:ext cx="837282" cy="761926"/>
            </a:xfrm>
            <a:prstGeom prst="rect">
              <a:avLst/>
            </a:prstGeom>
          </p:spPr>
        </p:pic>
        <p:sp>
          <p:nvSpPr>
            <p:cNvPr id="19" name="TextBox 19"/>
            <p:cNvSpPr txBox="1"/>
            <p:nvPr/>
          </p:nvSpPr>
          <p:spPr>
            <a:xfrm>
              <a:off x="1529524" y="40858"/>
              <a:ext cx="7359650" cy="66685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604"/>
                </a:lnSpc>
              </a:pPr>
              <a:r>
                <a:rPr lang="en-US" sz="1860">
                  <a:solidFill>
                    <a:srgbClr val="1A1B18"/>
                  </a:solidFill>
                  <a:latin typeface="Clear Sans Regular"/>
                </a:rPr>
                <a:t>достоверность информации</a:t>
              </a:r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5478682" y="3289493"/>
            <a:ext cx="5420809" cy="1000274"/>
            <a:chOff x="0" y="-57151"/>
            <a:chExt cx="10841619" cy="2000548"/>
          </a:xfrm>
        </p:grpSpPr>
        <p:pic>
          <p:nvPicPr>
            <p:cNvPr id="21" name="Picture 2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0" y="330200"/>
              <a:ext cx="917884" cy="835275"/>
            </a:xfrm>
            <a:prstGeom prst="rect">
              <a:avLst/>
            </a:prstGeom>
          </p:spPr>
        </p:pic>
        <p:sp>
          <p:nvSpPr>
            <p:cNvPr id="22" name="TextBox 22"/>
            <p:cNvSpPr txBox="1"/>
            <p:nvPr/>
          </p:nvSpPr>
          <p:spPr>
            <a:xfrm>
              <a:off x="1529522" y="-57151"/>
              <a:ext cx="9312097" cy="200054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613"/>
                </a:lnSpc>
              </a:pPr>
              <a:r>
                <a:rPr lang="en-US" sz="1866">
                  <a:solidFill>
                    <a:srgbClr val="1A1B18"/>
                  </a:solidFill>
                  <a:latin typeface="Clear Sans Regular"/>
                </a:rPr>
                <a:t>уровень владения иностранным языком (критерий при отборе аутентичных подкастов на иностранном языке)</a:t>
              </a:r>
            </a:p>
          </p:txBody>
        </p:sp>
      </p:grpSp>
      <p:grpSp>
        <p:nvGrpSpPr>
          <p:cNvPr id="23" name="Group 23"/>
          <p:cNvGrpSpPr/>
          <p:nvPr/>
        </p:nvGrpSpPr>
        <p:grpSpPr>
          <a:xfrm>
            <a:off x="5478682" y="4425526"/>
            <a:ext cx="5420809" cy="1333698"/>
            <a:chOff x="0" y="-57151"/>
            <a:chExt cx="10841619" cy="2667396"/>
          </a:xfrm>
        </p:grpSpPr>
        <p:pic>
          <p:nvPicPr>
            <p:cNvPr id="24" name="Picture 2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0" y="660400"/>
              <a:ext cx="917884" cy="835275"/>
            </a:xfrm>
            <a:prstGeom prst="rect">
              <a:avLst/>
            </a:prstGeom>
          </p:spPr>
        </p:pic>
        <p:sp>
          <p:nvSpPr>
            <p:cNvPr id="25" name="TextBox 25"/>
            <p:cNvSpPr txBox="1"/>
            <p:nvPr/>
          </p:nvSpPr>
          <p:spPr>
            <a:xfrm>
              <a:off x="1529522" y="-57151"/>
              <a:ext cx="9312097" cy="266739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613"/>
                </a:lnSpc>
              </a:pPr>
              <a:r>
                <a:rPr lang="en-US" sz="1866">
                  <a:solidFill>
                    <a:srgbClr val="1A1B18"/>
                  </a:solidFill>
                  <a:latin typeface="Clear Sans Regular"/>
                </a:rPr>
                <a:t>потенциал для совершенствования межкультурной компетенции (критерий при отборе аутентичных подкастов на иностранном языке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37950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-10800000">
            <a:off x="685800" y="685800"/>
            <a:ext cx="636990" cy="145459"/>
            <a:chOff x="0" y="0"/>
            <a:chExt cx="1273980" cy="290918"/>
          </a:xfrm>
        </p:grpSpPr>
        <p:grpSp>
          <p:nvGrpSpPr>
            <p:cNvPr id="3" name="Group 3"/>
            <p:cNvGrpSpPr>
              <a:grpSpLocks noChangeAspect="1"/>
            </p:cNvGrpSpPr>
            <p:nvPr/>
          </p:nvGrpSpPr>
          <p:grpSpPr>
            <a:xfrm>
              <a:off x="983062" y="0"/>
              <a:ext cx="290918" cy="290918"/>
              <a:chOff x="0" y="0"/>
              <a:chExt cx="1708150" cy="1708150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5" name="Group 5"/>
            <p:cNvGrpSpPr>
              <a:grpSpLocks noChangeAspect="1"/>
            </p:cNvGrpSpPr>
            <p:nvPr/>
          </p:nvGrpSpPr>
          <p:grpSpPr>
            <a:xfrm>
              <a:off x="489944" y="0"/>
              <a:ext cx="290918" cy="290918"/>
              <a:chOff x="0" y="0"/>
              <a:chExt cx="1708150" cy="170815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7" name="Group 7"/>
            <p:cNvGrpSpPr/>
            <p:nvPr/>
          </p:nvGrpSpPr>
          <p:grpSpPr>
            <a:xfrm>
              <a:off x="0" y="1587"/>
              <a:ext cx="287744" cy="287744"/>
              <a:chOff x="0" y="0"/>
              <a:chExt cx="6350000" cy="6350000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F88046"/>
              </a:solidFill>
            </p:spPr>
          </p:sp>
        </p:grpSp>
      </p:grpSp>
      <p:sp>
        <p:nvSpPr>
          <p:cNvPr id="9" name="AutoShape 9"/>
          <p:cNvSpPr/>
          <p:nvPr/>
        </p:nvSpPr>
        <p:spPr>
          <a:xfrm>
            <a:off x="685800" y="3724310"/>
            <a:ext cx="3948920" cy="60511"/>
          </a:xfrm>
          <a:prstGeom prst="rect">
            <a:avLst/>
          </a:prstGeom>
          <a:solidFill>
            <a:srgbClr val="F88046"/>
          </a:solidFill>
        </p:spPr>
      </p:sp>
      <p:pic>
        <p:nvPicPr>
          <p:cNvPr id="10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5582554" y="1512926"/>
            <a:ext cx="494862" cy="450325"/>
          </a:xfrm>
          <a:prstGeom prst="rect">
            <a:avLst/>
          </a:prstGeom>
        </p:spPr>
      </p:pic>
      <p:sp>
        <p:nvSpPr>
          <p:cNvPr id="11" name="TextBox 11"/>
          <p:cNvSpPr txBox="1"/>
          <p:nvPr/>
        </p:nvSpPr>
        <p:spPr>
          <a:xfrm>
            <a:off x="6486555" y="1307559"/>
            <a:ext cx="4349804" cy="8463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en-US" sz="1600">
                <a:solidFill>
                  <a:srgbClr val="1A1B18"/>
                </a:solidFill>
                <a:latin typeface="Clear Sans Regular"/>
              </a:rPr>
              <a:t>в качестве современного способа объяснения материала (своеобразная мини-лекция)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685800" y="2542388"/>
            <a:ext cx="3948920" cy="10259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960"/>
              </a:lnSpc>
            </a:pPr>
            <a:r>
              <a:rPr lang="en-US" sz="3600">
                <a:solidFill>
                  <a:srgbClr val="1A1B18"/>
                </a:solidFill>
                <a:latin typeface="Montserrat Bold"/>
              </a:rPr>
              <a:t>Возможности применения</a:t>
            </a:r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5582554" y="2522840"/>
            <a:ext cx="494862" cy="450325"/>
          </a:xfrm>
          <a:prstGeom prst="rect">
            <a:avLst/>
          </a:prstGeom>
        </p:spPr>
      </p:pic>
      <p:sp>
        <p:nvSpPr>
          <p:cNvPr id="14" name="TextBox 14"/>
          <p:cNvSpPr txBox="1"/>
          <p:nvPr/>
        </p:nvSpPr>
        <p:spPr>
          <a:xfrm>
            <a:off x="6486555" y="2457173"/>
            <a:ext cx="4349804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en-US" sz="1600">
                <a:solidFill>
                  <a:srgbClr val="1A1B18"/>
                </a:solidFill>
                <a:latin typeface="Clear Sans Regular"/>
              </a:rPr>
              <a:t>в качестве домашнего задания с последующим обсуждением на занятии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5601138" y="3559658"/>
            <a:ext cx="494862" cy="450325"/>
          </a:xfrm>
          <a:prstGeom prst="rect">
            <a:avLst/>
          </a:prstGeom>
        </p:spPr>
      </p:pic>
      <p:sp>
        <p:nvSpPr>
          <p:cNvPr id="16" name="TextBox 16"/>
          <p:cNvSpPr txBox="1"/>
          <p:nvPr/>
        </p:nvSpPr>
        <p:spPr>
          <a:xfrm>
            <a:off x="6486555" y="3354291"/>
            <a:ext cx="4349804" cy="8463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en-US" sz="1600">
                <a:solidFill>
                  <a:srgbClr val="1A1B18"/>
                </a:solidFill>
                <a:latin typeface="Clear Sans Regular"/>
              </a:rPr>
              <a:t>подкаст или заранее отобранный фрагмент подкаста на любом этапе урока (например, в качестве историко-культурного комментария)</a:t>
            </a:r>
          </a:p>
        </p:txBody>
      </p:sp>
      <p:pic>
        <p:nvPicPr>
          <p:cNvPr id="17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5601138" y="4474250"/>
            <a:ext cx="494862" cy="450325"/>
          </a:xfrm>
          <a:prstGeom prst="rect">
            <a:avLst/>
          </a:prstGeom>
        </p:spPr>
      </p:pic>
      <p:sp>
        <p:nvSpPr>
          <p:cNvPr id="18" name="TextBox 18"/>
          <p:cNvSpPr txBox="1"/>
          <p:nvPr/>
        </p:nvSpPr>
        <p:spPr>
          <a:xfrm>
            <a:off x="6486555" y="4408582"/>
            <a:ext cx="4349804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en-US" sz="1600">
                <a:solidFill>
                  <a:srgbClr val="1A1B18"/>
                </a:solidFill>
                <a:latin typeface="Clear Sans Regular"/>
              </a:rPr>
              <a:t>в качестве творческого задания для итогового оценивания</a:t>
            </a:r>
          </a:p>
        </p:txBody>
      </p:sp>
      <p:pic>
        <p:nvPicPr>
          <p:cNvPr id="19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5601138" y="5277164"/>
            <a:ext cx="494862" cy="450325"/>
          </a:xfrm>
          <a:prstGeom prst="rect">
            <a:avLst/>
          </a:prstGeom>
        </p:spPr>
      </p:pic>
      <p:sp>
        <p:nvSpPr>
          <p:cNvPr id="20" name="TextBox 20"/>
          <p:cNvSpPr txBox="1"/>
          <p:nvPr/>
        </p:nvSpPr>
        <p:spPr>
          <a:xfrm>
            <a:off x="6486555" y="5211496"/>
            <a:ext cx="4349804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2239"/>
              </a:lnSpc>
            </a:pPr>
            <a:r>
              <a:rPr lang="en-US" sz="1600">
                <a:solidFill>
                  <a:srgbClr val="1A1B18"/>
                </a:solidFill>
                <a:latin typeface="Clear Sans Regular"/>
              </a:rPr>
              <a:t>в качестве продукта, отражающего результаты проектной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3916536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0900913" y="685800"/>
            <a:ext cx="605287" cy="605287"/>
            <a:chOff x="0" y="0"/>
            <a:chExt cx="6350000" cy="6350000"/>
          </a:xfrm>
        </p:grpSpPr>
        <p:sp>
          <p:nvSpPr>
            <p:cNvPr id="3" name="Freeform 3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solidFill>
              <a:srgbClr val="F88046"/>
            </a:solidFill>
          </p:spPr>
        </p:sp>
      </p:grpSp>
      <p:grpSp>
        <p:nvGrpSpPr>
          <p:cNvPr id="4" name="Group 4"/>
          <p:cNvGrpSpPr/>
          <p:nvPr/>
        </p:nvGrpSpPr>
        <p:grpSpPr>
          <a:xfrm>
            <a:off x="685800" y="915714"/>
            <a:ext cx="636990" cy="145459"/>
            <a:chOff x="0" y="0"/>
            <a:chExt cx="1273980" cy="290918"/>
          </a:xfrm>
        </p:grpSpPr>
        <p:grpSp>
          <p:nvGrpSpPr>
            <p:cNvPr id="5" name="Group 5"/>
            <p:cNvGrpSpPr>
              <a:grpSpLocks noChangeAspect="1"/>
            </p:cNvGrpSpPr>
            <p:nvPr/>
          </p:nvGrpSpPr>
          <p:grpSpPr>
            <a:xfrm>
              <a:off x="983062" y="0"/>
              <a:ext cx="290918" cy="290918"/>
              <a:chOff x="0" y="0"/>
              <a:chExt cx="1708150" cy="170815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7" name="Group 7"/>
            <p:cNvGrpSpPr>
              <a:grpSpLocks noChangeAspect="1"/>
            </p:cNvGrpSpPr>
            <p:nvPr/>
          </p:nvGrpSpPr>
          <p:grpSpPr>
            <a:xfrm>
              <a:off x="0" y="0"/>
              <a:ext cx="290918" cy="290918"/>
              <a:chOff x="0" y="0"/>
              <a:chExt cx="1708150" cy="1708150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1708150" cy="1708150"/>
              </a:xfrm>
              <a:custGeom>
                <a:avLst/>
                <a:gdLst/>
                <a:ahLst/>
                <a:cxnLst/>
                <a:rect l="l" t="t" r="r" b="b"/>
                <a:pathLst>
                  <a:path w="1708150" h="1708150">
                    <a:moveTo>
                      <a:pt x="853440" y="1708150"/>
                    </a:moveTo>
                    <a:cubicBezTo>
                      <a:pt x="383540" y="1708150"/>
                      <a:pt x="0" y="1324610"/>
                      <a:pt x="0" y="853440"/>
                    </a:cubicBezTo>
                    <a:cubicBezTo>
                      <a:pt x="0" y="383540"/>
                      <a:pt x="383540" y="0"/>
                      <a:pt x="853440" y="0"/>
                    </a:cubicBezTo>
                    <a:cubicBezTo>
                      <a:pt x="1324610" y="0"/>
                      <a:pt x="1706880" y="383540"/>
                      <a:pt x="1706880" y="853440"/>
                    </a:cubicBezTo>
                    <a:cubicBezTo>
                      <a:pt x="1708150" y="1324610"/>
                      <a:pt x="1324610" y="1708150"/>
                      <a:pt x="853440" y="1708150"/>
                    </a:cubicBezTo>
                    <a:close/>
                    <a:moveTo>
                      <a:pt x="853440" y="469900"/>
                    </a:moveTo>
                    <a:cubicBezTo>
                      <a:pt x="642620" y="469900"/>
                      <a:pt x="469900" y="642620"/>
                      <a:pt x="469900" y="853440"/>
                    </a:cubicBezTo>
                    <a:cubicBezTo>
                      <a:pt x="469900" y="1064260"/>
                      <a:pt x="642620" y="1236980"/>
                      <a:pt x="853440" y="1236980"/>
                    </a:cubicBezTo>
                    <a:cubicBezTo>
                      <a:pt x="1064260" y="1236980"/>
                      <a:pt x="1236980" y="1064260"/>
                      <a:pt x="1236980" y="853440"/>
                    </a:cubicBezTo>
                    <a:cubicBezTo>
                      <a:pt x="1236980" y="642620"/>
                      <a:pt x="1065530" y="469900"/>
                      <a:pt x="853440" y="469900"/>
                    </a:cubicBezTo>
                    <a:close/>
                  </a:path>
                </a:pathLst>
              </a:custGeom>
              <a:solidFill>
                <a:srgbClr val="1A1B18"/>
              </a:solidFill>
            </p:spPr>
          </p:sp>
        </p:grpSp>
        <p:grpSp>
          <p:nvGrpSpPr>
            <p:cNvPr id="9" name="Group 9"/>
            <p:cNvGrpSpPr/>
            <p:nvPr/>
          </p:nvGrpSpPr>
          <p:grpSpPr>
            <a:xfrm>
              <a:off x="493118" y="1587"/>
              <a:ext cx="287744" cy="287744"/>
              <a:chOff x="0" y="0"/>
              <a:chExt cx="6350000" cy="6350000"/>
            </a:xfrm>
          </p:grpSpPr>
          <p:sp>
            <p:nvSpPr>
              <p:cNvPr id="10" name="Freeform 10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solidFill>
                <a:srgbClr val="F88046"/>
              </a:solidFill>
            </p:spPr>
          </p:sp>
        </p:grpSp>
      </p:grpSp>
      <p:sp>
        <p:nvSpPr>
          <p:cNvPr id="11" name="TextBox 11"/>
          <p:cNvSpPr txBox="1"/>
          <p:nvPr/>
        </p:nvSpPr>
        <p:spPr>
          <a:xfrm>
            <a:off x="2470739" y="2681659"/>
            <a:ext cx="7250523" cy="6540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74"/>
              </a:lnSpc>
            </a:pPr>
            <a:r>
              <a:rPr lang="en-US" sz="4612">
                <a:solidFill>
                  <a:srgbClr val="1A1B18"/>
                </a:solidFill>
                <a:latin typeface="Montserrat Bold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039603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7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pic>
        <p:nvPicPr>
          <p:cNvPr id="63546" name="Picture 58" descr="base-valu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232" y="1324864"/>
            <a:ext cx="2792599" cy="164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548" name="Picture 60" descr="base-valu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2676" y="3120732"/>
            <a:ext cx="2694160" cy="1589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550" name="Picture 62" descr="base-valu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456" y="4841901"/>
            <a:ext cx="2686840" cy="158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21217" y="1324864"/>
            <a:ext cx="6980349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u="sng" dirty="0">
                <a:hlinkClick r:id="rId10"/>
              </a:rPr>
              <a:t>Социологический словарь</a:t>
            </a:r>
            <a:r>
              <a:rPr lang="ru-RU" sz="2800" dirty="0"/>
              <a:t> определяет функциональную грамотность как способность </a:t>
            </a:r>
            <a:r>
              <a:rPr lang="ru-RU" sz="2800" u="sng" dirty="0">
                <a:hlinkClick r:id="rId11"/>
              </a:rPr>
              <a:t>человека</a:t>
            </a:r>
            <a:r>
              <a:rPr lang="ru-RU" sz="2800" dirty="0"/>
              <a:t> вступать в отношения с внешней средой и максимально быстро адаптироваться и функционировать в ней, т.е. способность использовать навыки чтения и письма в условиях взаимодействия с социумом (оформить счет в банке, прочитать инструкцию к купленному компьютеру и т.д.).</a:t>
            </a:r>
          </a:p>
        </p:txBody>
      </p:sp>
    </p:spTree>
    <p:extLst>
      <p:ext uri="{BB962C8B-B14F-4D97-AF65-F5344CB8AC3E}">
        <p14:creationId xmlns:p14="http://schemas.microsoft.com/office/powerpoint/2010/main" val="71436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TextBox 96"/>
          <p:cNvSpPr txBox="1"/>
          <p:nvPr/>
        </p:nvSpPr>
        <p:spPr>
          <a:xfrm>
            <a:off x="5270253" y="203043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643945" y="540913"/>
            <a:ext cx="1036677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chemeClr val="accent6">
                    <a:lumMod val="75000"/>
                  </a:schemeClr>
                </a:solidFill>
              </a:rPr>
              <a:t>Выделены отличительные черты функциональной грамотности:</a:t>
            </a:r>
          </a:p>
          <a:p>
            <a:r>
              <a:rPr lang="ru-RU" sz="3200" dirty="0"/>
              <a:t>1) направленность на решение бытовых проблем;</a:t>
            </a:r>
          </a:p>
          <a:p>
            <a:r>
              <a:rPr lang="ru-RU" sz="3200" dirty="0"/>
              <a:t>2) является ситуативной характеристикой личности, поскольку обнаруживает себя в конкретных социальных обстоятельствах;</a:t>
            </a:r>
          </a:p>
          <a:p>
            <a:r>
              <a:rPr lang="ru-RU" sz="3200" dirty="0"/>
              <a:t>3) связь с решением стандартных, стереотипных задач;</a:t>
            </a:r>
          </a:p>
          <a:p>
            <a:r>
              <a:rPr lang="ru-RU" sz="3200" dirty="0"/>
              <a:t>4) это всегда некоторый элементарный (базовый) уровень навыков чтения и письма.</a:t>
            </a:r>
          </a:p>
        </p:txBody>
      </p:sp>
    </p:spTree>
    <p:extLst>
      <p:ext uri="{BB962C8B-B14F-4D97-AF65-F5344CB8AC3E}">
        <p14:creationId xmlns:p14="http://schemas.microsoft.com/office/powerpoint/2010/main" val="2551764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82580" y="1274489"/>
            <a:ext cx="1048340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/>
              <a:t>Параметры функциональной грамотности включают языковую, компьютерную и информационную, правовую, гражданскую, финансовую, экологическую грамотность, способность ставить и изменять цели и </a:t>
            </a:r>
            <a:r>
              <a:rPr lang="ru-RU" sz="3600" u="sng" dirty="0">
                <a:hlinkClick r:id="rId3"/>
              </a:rPr>
              <a:t>задачи</a:t>
            </a:r>
            <a:r>
              <a:rPr lang="ru-RU" sz="3600" dirty="0"/>
              <a:t> собственной деятельности</a:t>
            </a:r>
          </a:p>
        </p:txBody>
      </p:sp>
      <p:pic>
        <p:nvPicPr>
          <p:cNvPr id="32" name="Picture 60" descr="base-valu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7455" y="4690808"/>
            <a:ext cx="3008322" cy="1774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513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923366" y="731520"/>
            <a:ext cx="10757646" cy="3474720"/>
          </a:xfrm>
        </p:spPr>
        <p:txBody>
          <a:bodyPr>
            <a:noAutofit/>
          </a:bodyPr>
          <a:lstStyle/>
          <a:p>
            <a:pPr marL="45720" indent="0">
              <a:buNone/>
            </a:pPr>
            <a:r>
              <a:rPr lang="ru-RU" sz="5400" dirty="0" smtClean="0">
                <a:latin typeface="Comic Sans MS" panose="030F0702030302020204" pitchFamily="66" charset="0"/>
              </a:rPr>
              <a:t>«Образование </a:t>
            </a:r>
            <a:r>
              <a:rPr lang="ru-RU" sz="5400" dirty="0">
                <a:latin typeface="Comic Sans MS" panose="030F0702030302020204" pitchFamily="66" charset="0"/>
              </a:rPr>
              <a:t>– это то, что остается, когда все выученное забывается</a:t>
            </a:r>
            <a:r>
              <a:rPr lang="ru-RU" sz="5400" dirty="0" smtClean="0">
                <a:latin typeface="Comic Sans MS" panose="030F0702030302020204" pitchFamily="66" charset="0"/>
              </a:rPr>
              <a:t>»</a:t>
            </a:r>
          </a:p>
          <a:p>
            <a:pPr marL="45720" indent="0">
              <a:buNone/>
            </a:pPr>
            <a:r>
              <a:rPr lang="ru-RU" sz="5400" dirty="0" smtClean="0">
                <a:latin typeface="Comic Sans MS" panose="030F0702030302020204" pitchFamily="66" charset="0"/>
              </a:rPr>
              <a:t>        </a:t>
            </a:r>
            <a:r>
              <a:rPr lang="ru-RU" sz="5400" dirty="0">
                <a:latin typeface="Comic Sans MS" panose="030F0702030302020204" pitchFamily="66" charset="0"/>
              </a:rPr>
              <a:t>(</a:t>
            </a:r>
            <a:r>
              <a:rPr lang="ru-RU" sz="5400" dirty="0" smtClean="0">
                <a:latin typeface="Comic Sans MS" panose="030F0702030302020204" pitchFamily="66" charset="0"/>
              </a:rPr>
              <a:t>Макс  </a:t>
            </a:r>
            <a:r>
              <a:rPr lang="ru-RU" sz="5400" dirty="0">
                <a:latin typeface="Comic Sans MS" panose="030F0702030302020204" pitchFamily="66" charset="0"/>
              </a:rPr>
              <a:t>фон Лауэ</a:t>
            </a:r>
            <a:r>
              <a:rPr lang="ru-RU" sz="5400" dirty="0" smtClean="0">
                <a:latin typeface="Comic Sans MS" panose="030F0702030302020204" pitchFamily="66" charset="0"/>
              </a:rPr>
              <a:t>)</a:t>
            </a:r>
            <a:endParaRPr lang="ru-RU" sz="5400" dirty="0">
              <a:latin typeface="Comic Sans MS" panose="030F0702030302020204" pitchFamily="66" charset="0"/>
            </a:endParaRPr>
          </a:p>
        </p:txBody>
      </p:sp>
      <p:pic>
        <p:nvPicPr>
          <p:cNvPr id="79874" name="Picture 2" descr="Credit: ullstein bild via Getty Images/ullstein bild Dtl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5766" y="2468880"/>
            <a:ext cx="3141380" cy="4608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6024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/>
          <p:cNvSpPr txBox="1"/>
          <p:nvPr/>
        </p:nvSpPr>
        <p:spPr>
          <a:xfrm>
            <a:off x="489537" y="340218"/>
            <a:ext cx="109386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уем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нкциональную грамотност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5" name="Подзаголовок 2"/>
          <p:cNvSpPr txBox="1">
            <a:spLocks/>
          </p:cNvSpPr>
          <p:nvPr/>
        </p:nvSpPr>
        <p:spPr>
          <a:xfrm>
            <a:off x="483215" y="2443417"/>
            <a:ext cx="6089316" cy="361637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здание учебных ситуаций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нициирующих  учебную деятельность  учащихся, мотивирующих их на учебную деятельность и  проясняющих смыслы этой деятельности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ние в общении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ли 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бное сотрудничество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задания на работу в парах и малых группах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исковая активность 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- задания поискового характера, учебные исследования, проекты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очная </a:t>
            </a: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амостоятельность 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кольников, задания на само- и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заимооценку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обретение опыта </a:t>
            </a:r>
            <a:r>
              <a:rPr lang="ru-RU" sz="20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 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ейсы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ролевые игры, 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испуты, требующие разрешения 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, 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нятия 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шений, </a:t>
            </a:r>
            <a:r>
              <a:rPr lang="ru-RU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итивного поведения</a:t>
            </a:r>
            <a:endParaRPr lang="ru-RU" sz="2000" b="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483215" y="1667221"/>
            <a:ext cx="5934677" cy="7284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Эффективные педагогические практики:</a:t>
            </a:r>
            <a:endParaRPr lang="en-US" sz="2000" dirty="0" smtClean="0">
              <a:solidFill>
                <a:schemeClr val="bg1"/>
              </a:solidFill>
            </a:endParaRPr>
          </a:p>
        </p:txBody>
      </p:sp>
      <p:pic>
        <p:nvPicPr>
          <p:cNvPr id="66562" name="Picture 2" descr="http://www.tutor4life.com/wp-content/uploads/2014/09/bigstock-Teacher-Giving-Personal-Instru-391775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1667221"/>
            <a:ext cx="3093244" cy="206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6" name="Picture 6" descr="https://d2ikzglg0h-flywheel.netdna-ssl.com/wp-content/uploads/2019/06/mision-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4449925"/>
            <a:ext cx="3093244" cy="206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4" name="Picture 4" descr="https://versiya.info/uploads/posts/2018-08/1533101005_y3wxit1ur8dc6xgyykmfmokbd6xgyykmfmokc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59391" y="3251647"/>
            <a:ext cx="3093244" cy="213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009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3"/>
          </p:nvPr>
        </p:nvSpPr>
        <p:spPr>
          <a:xfrm>
            <a:off x="1523999" y="731520"/>
            <a:ext cx="9637059" cy="5805806"/>
          </a:xfrm>
        </p:spPr>
        <p:txBody>
          <a:bodyPr>
            <a:normAutofit fontScale="92500" lnSpcReduction="10000"/>
          </a:bodyPr>
          <a:lstStyle/>
          <a:p>
            <a:pPr marL="45720" indent="0">
              <a:buNone/>
            </a:pPr>
            <a:r>
              <a:rPr lang="ru-RU" sz="3200" b="1" u="sng" dirty="0"/>
              <a:t>Этап мотивации.  </a:t>
            </a:r>
            <a:endParaRPr lang="ru-RU" sz="3200" u="sng" dirty="0"/>
          </a:p>
          <a:p>
            <a:r>
              <a:rPr lang="ru-RU" b="1" dirty="0"/>
              <a:t>Приём «Отсроченная отгадка</a:t>
            </a:r>
            <a:r>
              <a:rPr lang="ru-RU" b="1" dirty="0" smtClean="0"/>
              <a:t>»</a:t>
            </a:r>
          </a:p>
          <a:p>
            <a:r>
              <a:rPr lang="ru-RU" b="1" dirty="0"/>
              <a:t>1 вариант приема.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b="1" dirty="0"/>
              <a:t>2 вариант приема.</a:t>
            </a:r>
            <a:r>
              <a:rPr lang="ru-RU" dirty="0"/>
              <a:t> </a:t>
            </a:r>
          </a:p>
          <a:p>
            <a:r>
              <a:rPr lang="ru-RU" dirty="0" smtClean="0"/>
              <a:t> </a:t>
            </a:r>
            <a:r>
              <a:rPr lang="ru-RU" dirty="0"/>
              <a:t>«</a:t>
            </a:r>
            <a:r>
              <a:rPr lang="ru-RU" b="1" dirty="0"/>
              <a:t>Верные – неверные утверждения», «прогнозирование»</a:t>
            </a:r>
            <a:r>
              <a:rPr lang="ru-RU" dirty="0"/>
              <a:t>. </a:t>
            </a:r>
            <a:endParaRPr lang="ru-RU" dirty="0" smtClean="0"/>
          </a:p>
          <a:p>
            <a:endParaRPr lang="ru-RU" dirty="0"/>
          </a:p>
          <a:p>
            <a:r>
              <a:rPr lang="ru-RU" b="1" u="sng" dirty="0"/>
              <a:t>Этап целеполагания. </a:t>
            </a:r>
            <a:endParaRPr lang="ru-RU" u="sng" dirty="0"/>
          </a:p>
          <a:p>
            <a:r>
              <a:rPr lang="ru-RU" b="1" dirty="0"/>
              <a:t>Приём «Знаю. Хочу узнать. Узнал</a:t>
            </a:r>
            <a:r>
              <a:rPr lang="ru-RU" b="1" dirty="0" smtClean="0"/>
              <a:t>»</a:t>
            </a:r>
          </a:p>
          <a:p>
            <a:endParaRPr lang="ru-RU" b="1" dirty="0" smtClean="0"/>
          </a:p>
          <a:p>
            <a:r>
              <a:rPr lang="ru-RU" b="1" u="sng" dirty="0"/>
              <a:t>Этап актуализации. </a:t>
            </a:r>
            <a:endParaRPr lang="ru-RU" u="sng" dirty="0"/>
          </a:p>
          <a:p>
            <a:r>
              <a:rPr lang="ru-RU" b="1" dirty="0"/>
              <a:t>Приём «Бортовой журнал»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b="1" dirty="0"/>
              <a:t>Приём «Диктант на засыпку».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b="1" dirty="0"/>
              <a:t>«Чтение с остановками»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b="1" dirty="0"/>
              <a:t>Прием «Ассоциаций»</a:t>
            </a:r>
            <a:r>
              <a:rPr lang="ru-RU" dirty="0"/>
              <a:t> </a:t>
            </a:r>
            <a:endParaRPr lang="ru-RU" b="1" dirty="0" smtClean="0"/>
          </a:p>
          <a:p>
            <a:r>
              <a:rPr lang="ru-RU" b="1" dirty="0"/>
              <a:t>Приём «</a:t>
            </a:r>
            <a:r>
              <a:rPr lang="ru-RU" b="1" dirty="0" err="1"/>
              <a:t>Синквейн</a:t>
            </a:r>
            <a:r>
              <a:rPr lang="ru-RU" b="1" dirty="0"/>
              <a:t>»</a:t>
            </a:r>
            <a:r>
              <a:rPr lang="ru-RU" dirty="0"/>
              <a:t>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0356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914399" y="731520"/>
            <a:ext cx="9484659" cy="5920292"/>
          </a:xfrm>
        </p:spPr>
        <p:txBody>
          <a:bodyPr>
            <a:normAutofit fontScale="55000" lnSpcReduction="20000"/>
          </a:bodyPr>
          <a:lstStyle/>
          <a:p>
            <a:r>
              <a:rPr lang="ru-RU" sz="5100" dirty="0" err="1"/>
              <a:t>Синквейн</a:t>
            </a:r>
            <a:r>
              <a:rPr lang="ru-RU" sz="5100" dirty="0"/>
              <a:t> – самая лёгкая форма стихотворения по алгоритму. Данный приём помогает выразить свои мысли кратко и </a:t>
            </a:r>
            <a:r>
              <a:rPr lang="ru-RU" sz="5100" dirty="0" smtClean="0"/>
              <a:t>точно. </a:t>
            </a:r>
          </a:p>
          <a:p>
            <a:r>
              <a:rPr lang="ru-RU" sz="5100" dirty="0"/>
              <a:t>В каждой строке задается набор слов, который необходимо отразить в стихотворении.</a:t>
            </a:r>
          </a:p>
          <a:p>
            <a:r>
              <a:rPr lang="ru-RU" sz="5100" dirty="0"/>
              <a:t>1 строка – заголовок, в который выносится ключевое слово, понятие, тема </a:t>
            </a:r>
            <a:r>
              <a:rPr lang="ru-RU" sz="5100" dirty="0" err="1"/>
              <a:t>синквейна</a:t>
            </a:r>
            <a:r>
              <a:rPr lang="ru-RU" sz="5100" dirty="0"/>
              <a:t>, выраженное в форме существительного.</a:t>
            </a:r>
          </a:p>
          <a:p>
            <a:r>
              <a:rPr lang="ru-RU" sz="5100" dirty="0"/>
              <a:t>2 строка – два прилагательных.</a:t>
            </a:r>
          </a:p>
          <a:p>
            <a:r>
              <a:rPr lang="ru-RU" sz="5100" dirty="0"/>
              <a:t>3 строка – три глагола.</a:t>
            </a:r>
          </a:p>
          <a:p>
            <a:r>
              <a:rPr lang="ru-RU" sz="5100" dirty="0"/>
              <a:t>4 строка – высказывание, несущее определённый смысл.</a:t>
            </a:r>
          </a:p>
          <a:p>
            <a:r>
              <a:rPr lang="ru-RU" sz="5100" dirty="0"/>
              <a:t>5 строка – резюме, вывод, одно слово, существительное.</a:t>
            </a:r>
          </a:p>
          <a:p>
            <a:pPr marL="4572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59967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67553" y="206189"/>
            <a:ext cx="7252447" cy="3172498"/>
          </a:xfrm>
          <a:solidFill>
            <a:schemeClr val="bg2"/>
          </a:solidFill>
        </p:spPr>
        <p:txBody>
          <a:bodyPr/>
          <a:lstStyle/>
          <a:p>
            <a:pPr marL="45720" indent="0">
              <a:buNone/>
            </a:pPr>
            <a:r>
              <a:rPr lang="ru-RU" dirty="0" err="1"/>
              <a:t>Синквейн</a:t>
            </a:r>
            <a:r>
              <a:rPr lang="ru-RU" dirty="0"/>
              <a:t> к повести Гоголя Н.В. «Тарас Бульба»</a:t>
            </a:r>
          </a:p>
          <a:p>
            <a:r>
              <a:rPr lang="ru-RU" dirty="0"/>
              <a:t>Тарас Бульба</a:t>
            </a:r>
          </a:p>
          <a:p>
            <a:r>
              <a:rPr lang="ru-RU" dirty="0"/>
              <a:t>Великий, могучий</a:t>
            </a:r>
          </a:p>
          <a:p>
            <a:r>
              <a:rPr lang="ru-RU" dirty="0"/>
              <a:t>Борется, преодолевает, страдает</a:t>
            </a:r>
          </a:p>
          <a:p>
            <a:r>
              <a:rPr lang="ru-RU" dirty="0"/>
              <a:t>Герой Запорожья. Патриот!</a:t>
            </a:r>
          </a:p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104965" y="2563907"/>
            <a:ext cx="5916705" cy="2951262"/>
          </a:xfrm>
          <a:solidFill>
            <a:schemeClr val="accent4">
              <a:lumMod val="75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ru-RU" sz="2400" dirty="0">
                <a:effectLst/>
              </a:rPr>
              <a:t>Господин Н. (И.С. Тургенева “Ася”)</a:t>
            </a:r>
            <a:br>
              <a:rPr lang="ru-RU" sz="2400" dirty="0">
                <a:effectLst/>
              </a:rPr>
            </a:br>
            <a:r>
              <a:rPr lang="ru-RU" sz="2400" dirty="0">
                <a:effectLst/>
              </a:rPr>
              <a:t>Неискренний, холодный</a:t>
            </a:r>
            <a:br>
              <a:rPr lang="ru-RU" sz="2400" dirty="0">
                <a:effectLst/>
              </a:rPr>
            </a:br>
            <a:r>
              <a:rPr lang="ru-RU" sz="2400" dirty="0">
                <a:effectLst/>
              </a:rPr>
              <a:t>Не понял, не успел, полюбил</a:t>
            </a:r>
            <a:br>
              <a:rPr lang="ru-RU" sz="2400" dirty="0">
                <a:effectLst/>
              </a:rPr>
            </a:br>
            <a:r>
              <a:rPr lang="ru-RU" sz="2400" dirty="0">
                <a:effectLst/>
              </a:rPr>
              <a:t>Он расточал “люблю” на ветер, он твердил его среди пустых людей, но он не сказал его ей</a:t>
            </a:r>
            <a:br>
              <a:rPr lang="ru-RU" sz="2400" dirty="0">
                <a:effectLst/>
              </a:rPr>
            </a:br>
            <a:r>
              <a:rPr lang="ru-RU" sz="2400" dirty="0">
                <a:effectLst/>
              </a:rPr>
              <a:t>Безумец</a:t>
            </a:r>
            <a:br>
              <a:rPr lang="ru-RU" sz="2400" dirty="0">
                <a:effectLst/>
              </a:rPr>
            </a:br>
            <a:endParaRPr lang="ru-RU" sz="2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16542" y="3378687"/>
            <a:ext cx="6069105" cy="2136482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75"/>
              </a:spcAft>
            </a:pPr>
            <a:r>
              <a:rPr lang="ru-RU" sz="2000" b="1" dirty="0">
                <a:solidFill>
                  <a:srgbClr val="333333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ся</a:t>
            </a:r>
            <a:r>
              <a:rPr lang="ru-RU" sz="2000" dirty="0">
                <a:solidFill>
                  <a:srgbClr val="333333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И.С. Тургенева “Ася”)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2000" dirty="0">
                <a:solidFill>
                  <a:srgbClr val="333333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кромная, беззащитная</a:t>
            </a:r>
            <a:endParaRPr lang="ru-RU" sz="20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2000" dirty="0">
                <a:solidFill>
                  <a:srgbClr val="333333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юбила, страдала, сбежала</a:t>
            </a:r>
            <a:endParaRPr lang="ru-RU" sz="20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2000" dirty="0">
                <a:solidFill>
                  <a:srgbClr val="333333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това пойти на все ради любимого человека.</a:t>
            </a:r>
            <a:endParaRPr lang="ru-RU" sz="20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2000" dirty="0">
                <a:solidFill>
                  <a:srgbClr val="333333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гадочная.</a:t>
            </a:r>
            <a:endParaRPr lang="ru-RU" sz="2000" dirty="0">
              <a:solidFill>
                <a:srgbClr val="33333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319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8559</TotalTime>
  <Words>863</Words>
  <Application>Microsoft Office PowerPoint</Application>
  <PresentationFormat>Широкоэкранный</PresentationFormat>
  <Paragraphs>125</Paragraphs>
  <Slides>16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32" baseType="lpstr">
      <vt:lpstr>Arial</vt:lpstr>
      <vt:lpstr>Calibri</vt:lpstr>
      <vt:lpstr>Calibri Light</vt:lpstr>
      <vt:lpstr>Clear Sans Regular</vt:lpstr>
      <vt:lpstr>Clear Sans Regular Bold</vt:lpstr>
      <vt:lpstr>Comic Sans MS</vt:lpstr>
      <vt:lpstr>Georgia</vt:lpstr>
      <vt:lpstr>Helvetica</vt:lpstr>
      <vt:lpstr>Montserrat Bold</vt:lpstr>
      <vt:lpstr>Open Sans</vt:lpstr>
      <vt:lpstr>Open Sans Light</vt:lpstr>
      <vt:lpstr>Symbol</vt:lpstr>
      <vt:lpstr>Times New Roman</vt:lpstr>
      <vt:lpstr>Trebuchet MS</vt:lpstr>
      <vt:lpstr>Воздушный поток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Господин Н. (И.С. Тургенева “Ася”) Неискренний, холодный Не понял, не успел, полюбил Он расточал “люблю” на ветер, он твердил его среди пустых людей, но он не сказал его ей Безумец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</cp:lastModifiedBy>
  <cp:revision>831</cp:revision>
  <cp:lastPrinted>2019-08-02T09:06:22Z</cp:lastPrinted>
  <dcterms:created xsi:type="dcterms:W3CDTF">2018-07-24T05:59:49Z</dcterms:created>
  <dcterms:modified xsi:type="dcterms:W3CDTF">2023-05-22T12:10:40Z</dcterms:modified>
</cp:coreProperties>
</file>